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8"/>
  </p:notesMasterIdLst>
  <p:handoutMasterIdLst>
    <p:handoutMasterId r:id="rId9"/>
  </p:handoutMasterIdLst>
  <p:sldIdLst>
    <p:sldId id="256" r:id="rId5"/>
    <p:sldId id="275" r:id="rId6"/>
    <p:sldId id="276" r:id="rId7"/>
  </p:sldIdLst>
  <p:sldSz cx="12192000" cy="6858000"/>
  <p:notesSz cx="9144000" cy="6858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39" autoAdjust="0"/>
    <p:restoredTop sz="91717" autoAdjust="0"/>
  </p:normalViewPr>
  <p:slideViewPr>
    <p:cSldViewPr snapToGrid="0">
      <p:cViewPr>
        <p:scale>
          <a:sx n="100" d="100"/>
          <a:sy n="100" d="100"/>
        </p:scale>
        <p:origin x="642" y="102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-57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0/2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0/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SI organizationally reporting structure as a self-sufficient unit within Medicare business unit, Government Service, Insurance Business Unit of CVS Health.</a:t>
            </a:r>
          </a:p>
          <a:p>
            <a:r>
              <a:rPr lang="en-US" dirty="0"/>
              <a:t>Acquired from </a:t>
            </a:r>
            <a:r>
              <a:rPr lang="en-US" dirty="0" err="1"/>
              <a:t>GenWorth</a:t>
            </a:r>
            <a:r>
              <a:rPr lang="en-US" dirty="0"/>
              <a:t> in 2011, Aetna managed SSI as a wholly owned affiliate business unit.</a:t>
            </a:r>
          </a:p>
          <a:p>
            <a:r>
              <a:rPr lang="en-US" dirty="0"/>
              <a:t>The information technology staff is aligned with the SSI business unit, a group of approximately 20 report solid line to Insurance IT Delivery but for all practical purposes a very strong dotted line to the SSI business and their operation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fferentiating the Medicare Supplemental product from Medicare Advantage plans is an extensive topic.  The fundamental difference: 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dirty="0"/>
              <a:t>Medicare Supplemental is a secondary coverage where the primary coverage is base Medicare Part A or Part B or both;  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dirty="0"/>
              <a:t>Medicare Advantage is private insurance characterized as “Medicare Part C” and may be combined with a pharmacy coverage benefit yielding: “MAPD”;  A third product “PDP” is a standalone plan covering pharmaceutical coverage benefits for prescribed drugs categorized under Part D formulary. 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As of mid-2019 the Aetna Senior Supplemental Product membership: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dirty="0" err="1"/>
              <a:t>MedSupp</a:t>
            </a:r>
            <a:r>
              <a:rPr lang="en-US" dirty="0"/>
              <a:t>:  800,000 +  and growing at 24% per year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Final Expense: 30,000 member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Protection Series:  180,000</a:t>
            </a:r>
            <a:r>
              <a:rPr lang="en-US"/>
              <a:t>+ members and growing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843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ter Cram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 dirty="0"/>
              <a:t>SSI</a:t>
            </a:r>
            <a:br>
              <a:rPr lang="en-US" sz="4000" dirty="0"/>
            </a:br>
            <a:br>
              <a:rPr lang="en-US" sz="4000" dirty="0"/>
            </a:br>
            <a:r>
              <a:rPr lang="en-US" sz="2800" dirty="0"/>
              <a:t>Senior Supplemental Insurance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br>
              <a:rPr lang="en-US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ptember 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ior Supplemental Insurance 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SSI business 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9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33923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7054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195963"/>
            <a:ext cx="2237169" cy="13909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545890"/>
            <a:ext cx="2237169" cy="17205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5250107"/>
            <a:ext cx="5598851" cy="9595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8AAB3C5-9688-4ABE-A62A-619DE537C146}"/>
              </a:ext>
            </a:extLst>
          </p:cNvPr>
          <p:cNvSpPr/>
          <p:nvPr/>
        </p:nvSpPr>
        <p:spPr>
          <a:xfrm>
            <a:off x="1738327" y="3569162"/>
            <a:ext cx="967416" cy="230319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Vantiv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8308DF2-1AF8-48C6-9EA0-AB3ABD3CEAAD}"/>
              </a:ext>
            </a:extLst>
          </p:cNvPr>
          <p:cNvSpPr/>
          <p:nvPr/>
        </p:nvSpPr>
        <p:spPr>
          <a:xfrm>
            <a:off x="955171" y="4169900"/>
            <a:ext cx="1493389" cy="2751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Agent / Brokers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16C3F98-1719-40CB-8CD8-98A476FF1747}"/>
              </a:ext>
            </a:extLst>
          </p:cNvPr>
          <p:cNvSpPr/>
          <p:nvPr/>
        </p:nvSpPr>
        <p:spPr>
          <a:xfrm>
            <a:off x="558800" y="3571327"/>
            <a:ext cx="1107440" cy="23407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Ensurem-AAA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62872B0A-2D5C-453A-8ADA-F49630BD6096}"/>
              </a:ext>
            </a:extLst>
          </p:cNvPr>
          <p:cNvSpPr/>
          <p:nvPr/>
        </p:nvSpPr>
        <p:spPr>
          <a:xfrm>
            <a:off x="1604588" y="3284905"/>
            <a:ext cx="1026851" cy="2126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RR Donelley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26D52ECA-B8D5-4C66-9CDF-E2A27328E067}"/>
              </a:ext>
            </a:extLst>
          </p:cNvPr>
          <p:cNvSpPr/>
          <p:nvPr/>
        </p:nvSpPr>
        <p:spPr>
          <a:xfrm>
            <a:off x="594338" y="3279207"/>
            <a:ext cx="909342" cy="21834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RedCard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872165B5-5651-4CC5-88D0-3688D44365CD}"/>
              </a:ext>
            </a:extLst>
          </p:cNvPr>
          <p:cNvSpPr/>
          <p:nvPr/>
        </p:nvSpPr>
        <p:spPr>
          <a:xfrm>
            <a:off x="711199" y="3002367"/>
            <a:ext cx="1728687" cy="23407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Change HealthCare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A81C89E-3169-4288-9903-CB7D4657E4D7}"/>
              </a:ext>
            </a:extLst>
          </p:cNvPr>
          <p:cNvSpPr/>
          <p:nvPr/>
        </p:nvSpPr>
        <p:spPr>
          <a:xfrm>
            <a:off x="1005839" y="3835487"/>
            <a:ext cx="1493389" cy="26524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Carrier International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804F417A-F8DE-4D38-BC23-8FDFFFE8076A}"/>
              </a:ext>
            </a:extLst>
          </p:cNvPr>
          <p:cNvSpPr/>
          <p:nvPr/>
        </p:nvSpPr>
        <p:spPr>
          <a:xfrm>
            <a:off x="751840" y="2738206"/>
            <a:ext cx="1691370" cy="23460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Milliman Medical UW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7D398918-A9DA-4F38-99CB-6920CAF8F93B}"/>
              </a:ext>
            </a:extLst>
          </p:cNvPr>
          <p:cNvSpPr/>
          <p:nvPr/>
        </p:nvSpPr>
        <p:spPr>
          <a:xfrm>
            <a:off x="690880" y="2362286"/>
            <a:ext cx="1757680" cy="33745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SG Policy Administration Solutions Group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55CEF6C-5D47-42AF-AA7F-FB3E78A3B793}"/>
              </a:ext>
            </a:extLst>
          </p:cNvPr>
          <p:cNvSpPr/>
          <p:nvPr/>
        </p:nvSpPr>
        <p:spPr>
          <a:xfrm>
            <a:off x="792480" y="2087966"/>
            <a:ext cx="1648292" cy="24837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InsPro Technologies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7783AE9-E0F4-4863-AAEF-E629584A4D6B}"/>
              </a:ext>
            </a:extLst>
          </p:cNvPr>
          <p:cNvSpPr/>
          <p:nvPr/>
        </p:nvSpPr>
        <p:spPr>
          <a:xfrm>
            <a:off x="3362960" y="2138689"/>
            <a:ext cx="1107440" cy="23563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Underwriting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CFB01829-394E-434A-9438-E6E7B502B4CC}"/>
              </a:ext>
            </a:extLst>
          </p:cNvPr>
          <p:cNvSpPr/>
          <p:nvPr/>
        </p:nvSpPr>
        <p:spPr>
          <a:xfrm>
            <a:off x="2997200" y="2433407"/>
            <a:ext cx="1838960" cy="2524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Medical Review of claim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AE5A9C2-3685-4CCE-932C-ADAEA8E8B581}"/>
              </a:ext>
            </a:extLst>
          </p:cNvPr>
          <p:cNvSpPr/>
          <p:nvPr/>
        </p:nvSpPr>
        <p:spPr>
          <a:xfrm>
            <a:off x="2794000" y="2738206"/>
            <a:ext cx="2113280" cy="38608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Agent sales channel support, commissions, recognition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708376E-AE0C-4219-ABE3-B274C89BA7DA}"/>
              </a:ext>
            </a:extLst>
          </p:cNvPr>
          <p:cNvSpPr/>
          <p:nvPr/>
        </p:nvSpPr>
        <p:spPr>
          <a:xfrm>
            <a:off x="5054363" y="2087966"/>
            <a:ext cx="2090093" cy="70512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Medicare Supplemental secondary insurance for subscribers of Medicare Part B &amp; Part A coverage.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C99A52F4-7469-4B14-8689-55F89CF7C5D1}"/>
              </a:ext>
            </a:extLst>
          </p:cNvPr>
          <p:cNvSpPr/>
          <p:nvPr/>
        </p:nvSpPr>
        <p:spPr>
          <a:xfrm>
            <a:off x="5030838" y="2808672"/>
            <a:ext cx="2153697" cy="169673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Differentiated by flexibility of benefit: Voluntary supplemental benefit insurance: coverage of Dental Vision Hearing, Home Care, Recovery Care; and indemnity coverage of events: hospitalization, cancer, heart attack, stroke or end-of-life.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C9D2B33E-45CB-435F-BEF6-FC2739A7B163}"/>
              </a:ext>
            </a:extLst>
          </p:cNvPr>
          <p:cNvSpPr/>
          <p:nvPr/>
        </p:nvSpPr>
        <p:spPr>
          <a:xfrm>
            <a:off x="3290109" y="3478502"/>
            <a:ext cx="1342267" cy="1782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Under Writer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1321706-DCC1-426A-8887-72DF5A8A211D}"/>
              </a:ext>
            </a:extLst>
          </p:cNvPr>
          <p:cNvSpPr/>
          <p:nvPr/>
        </p:nvSpPr>
        <p:spPr>
          <a:xfrm>
            <a:off x="7295065" y="2098809"/>
            <a:ext cx="2091007" cy="107538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Member primary relationship is with their Agent. Agent assisted shop-buy-enrollment. A&amp;H claims by individual members often submitted via agent.   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CEEC9C2C-DFA6-43F6-A9CD-C5480C46CBFF}"/>
              </a:ext>
            </a:extLst>
          </p:cNvPr>
          <p:cNvSpPr/>
          <p:nvPr/>
        </p:nvSpPr>
        <p:spPr>
          <a:xfrm>
            <a:off x="7362386" y="3205065"/>
            <a:ext cx="1912290" cy="29248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Service contact center is by phone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4AE408B-E523-49B1-A80F-DADE8906BA44}"/>
              </a:ext>
            </a:extLst>
          </p:cNvPr>
          <p:cNvSpPr/>
          <p:nvPr/>
        </p:nvSpPr>
        <p:spPr>
          <a:xfrm>
            <a:off x="3990814" y="3705740"/>
            <a:ext cx="942841" cy="29172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Information Technology 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D25CF85F-6159-4258-B758-8B5DEB03376A}"/>
              </a:ext>
            </a:extLst>
          </p:cNvPr>
          <p:cNvSpPr/>
          <p:nvPr/>
        </p:nvSpPr>
        <p:spPr>
          <a:xfrm>
            <a:off x="2775857" y="3695119"/>
            <a:ext cx="1173419" cy="2859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Case Managers Medical Review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D77E3D49-233E-4E8E-9D14-A48A9C2E254D}"/>
              </a:ext>
            </a:extLst>
          </p:cNvPr>
          <p:cNvSpPr/>
          <p:nvPr/>
        </p:nvSpPr>
        <p:spPr>
          <a:xfrm>
            <a:off x="2994076" y="4011547"/>
            <a:ext cx="1676400" cy="26355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Financial Stability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95851501-7654-4201-A962-33E5BA55C6B7}"/>
              </a:ext>
            </a:extLst>
          </p:cNvPr>
          <p:cNvSpPr/>
          <p:nvPr/>
        </p:nvSpPr>
        <p:spPr>
          <a:xfrm>
            <a:off x="3078480" y="4282527"/>
            <a:ext cx="1658966" cy="25513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Brand Recognition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2B51C6A-2C0B-4403-9B6B-317588479060}"/>
              </a:ext>
            </a:extLst>
          </p:cNvPr>
          <p:cNvSpPr/>
          <p:nvPr/>
        </p:nvSpPr>
        <p:spPr>
          <a:xfrm>
            <a:off x="594338" y="4819318"/>
            <a:ext cx="2399738" cy="51539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Sales, external agent commissions, recognition and supporting marketing.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48834743-AACC-437C-98BA-916D3AE70E8F}"/>
              </a:ext>
            </a:extLst>
          </p:cNvPr>
          <p:cNvSpPr/>
          <p:nvPr/>
        </p:nvSpPr>
        <p:spPr>
          <a:xfrm>
            <a:off x="4395383" y="5021156"/>
            <a:ext cx="1492739" cy="2834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Claim payments 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6C2485ED-56E3-45B5-8F3A-DCBCD43BCCC0}"/>
              </a:ext>
            </a:extLst>
          </p:cNvPr>
          <p:cNvSpPr/>
          <p:nvPr/>
        </p:nvSpPr>
        <p:spPr>
          <a:xfrm>
            <a:off x="3829051" y="5382083"/>
            <a:ext cx="2078842" cy="37632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Protect Series manual claim  medical review.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8DABA883-6E74-49CA-A23E-B5F98DC44466}"/>
              </a:ext>
            </a:extLst>
          </p:cNvPr>
          <p:cNvSpPr/>
          <p:nvPr/>
        </p:nvSpPr>
        <p:spPr>
          <a:xfrm>
            <a:off x="600146" y="5382083"/>
            <a:ext cx="2478334" cy="49291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Enrollment workflow including underwriting at times including medical review.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CE206504-8784-47B1-BB35-9F8C84208C3B}"/>
              </a:ext>
            </a:extLst>
          </p:cNvPr>
          <p:cNvSpPr/>
          <p:nvPr/>
        </p:nvSpPr>
        <p:spPr>
          <a:xfrm>
            <a:off x="3829050" y="5833585"/>
            <a:ext cx="2099457" cy="273309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External vendor partners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9E395FF9-672B-4D95-BE49-762D31610CF2}"/>
              </a:ext>
            </a:extLst>
          </p:cNvPr>
          <p:cNvSpPr/>
          <p:nvPr/>
        </p:nvSpPr>
        <p:spPr>
          <a:xfrm>
            <a:off x="596820" y="5940591"/>
            <a:ext cx="2478333" cy="26903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IT tools and consultants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7C1150E6-E88A-45A2-B80B-573EF132E920}"/>
              </a:ext>
            </a:extLst>
          </p:cNvPr>
          <p:cNvSpPr/>
          <p:nvPr/>
        </p:nvSpPr>
        <p:spPr>
          <a:xfrm>
            <a:off x="7267728" y="4513647"/>
            <a:ext cx="2163596" cy="67733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EDI claim and eligibility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Fax enroll &amp; claim submit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Phone service and inquiry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Correspondence 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1BAF3C48-0A92-4263-9218-9891A39EA41B}"/>
              </a:ext>
            </a:extLst>
          </p:cNvPr>
          <p:cNvSpPr/>
          <p:nvPr/>
        </p:nvSpPr>
        <p:spPr>
          <a:xfrm>
            <a:off x="6986426" y="5558603"/>
            <a:ext cx="1492739" cy="2834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Premiums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6C0F9F36-0D97-46A8-9B9D-977C84EC026B}"/>
              </a:ext>
            </a:extLst>
          </p:cNvPr>
          <p:cNvSpPr/>
          <p:nvPr/>
        </p:nvSpPr>
        <p:spPr>
          <a:xfrm>
            <a:off x="8818646" y="5544181"/>
            <a:ext cx="1492739" cy="2834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Administrative fees as TPA - ASO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923070E-6D86-45BC-8A24-D4A0EDE06348}"/>
              </a:ext>
            </a:extLst>
          </p:cNvPr>
          <p:cNvSpPr/>
          <p:nvPr/>
        </p:nvSpPr>
        <p:spPr>
          <a:xfrm>
            <a:off x="7235510" y="3774450"/>
            <a:ext cx="2180633" cy="35616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Agent portal, mobile: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AQE Aetna Quote &amp; Enroll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47C0AF66-8A25-44A5-9585-93738BCED1A0}"/>
              </a:ext>
            </a:extLst>
          </p:cNvPr>
          <p:cNvSpPr/>
          <p:nvPr/>
        </p:nvSpPr>
        <p:spPr>
          <a:xfrm>
            <a:off x="7246691" y="4163053"/>
            <a:ext cx="2139382" cy="30225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AetnaSeniorProducts.com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1000" b="1" i="1" dirty="0">
                <a:solidFill>
                  <a:schemeClr val="tx1"/>
                </a:solidFill>
                <a:latin typeface="Verdana" pitchFamily="34" charset="0"/>
              </a:rPr>
              <a:t>AAA Ensur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6F4A1A-B2E5-4534-9265-E9A835F619A2}"/>
              </a:ext>
            </a:extLst>
          </p:cNvPr>
          <p:cNvSpPr txBox="1"/>
          <p:nvPr/>
        </p:nvSpPr>
        <p:spPr>
          <a:xfrm>
            <a:off x="12353925" y="233633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endParaRPr lang="en-US" dirty="0" err="1">
              <a:solidFill>
                <a:schemeClr val="tx2"/>
              </a:solidFill>
              <a:cs typeface="Open Sans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319F0C-60A2-4D36-B29E-33115556F628}"/>
              </a:ext>
            </a:extLst>
          </p:cNvPr>
          <p:cNvSpPr txBox="1"/>
          <p:nvPr/>
        </p:nvSpPr>
        <p:spPr>
          <a:xfrm>
            <a:off x="9572625" y="2085975"/>
            <a:ext cx="2050623" cy="707115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i="1" dirty="0">
                <a:latin typeface="Verdana" pitchFamily="34" charset="0"/>
              </a:rPr>
              <a:t>Consumers enrolled in Medicare seek secondary coverage.  Base Medicare pays 80%. Medicare Supplemental Insurance the remaining 20%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D22E5EB-AC71-44C2-AFD4-E63A58D98658}"/>
              </a:ext>
            </a:extLst>
          </p:cNvPr>
          <p:cNvSpPr txBox="1"/>
          <p:nvPr/>
        </p:nvSpPr>
        <p:spPr>
          <a:xfrm>
            <a:off x="9572625" y="2972807"/>
            <a:ext cx="2025037" cy="86268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i="1" dirty="0">
                <a:latin typeface="Verdana" pitchFamily="34" charset="0"/>
              </a:rPr>
              <a:t>Individual consumers, employees and seeking Health and Accident (A&amp;H) plans so called ‘voluntary’. Examples include hospitalization; heart attack or cancer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5DF0449-4ECB-40CD-874E-48208B10F717}"/>
              </a:ext>
            </a:extLst>
          </p:cNvPr>
          <p:cNvSpPr txBox="1"/>
          <p:nvPr/>
        </p:nvSpPr>
        <p:spPr>
          <a:xfrm>
            <a:off x="9531818" y="3946541"/>
            <a:ext cx="2095500" cy="512723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i="1" dirty="0">
                <a:latin typeface="Verdana" pitchFamily="34" charset="0"/>
              </a:rPr>
              <a:t>Carriers: seek administrator of similar plans, a 3</a:t>
            </a:r>
            <a:r>
              <a:rPr lang="en-US" sz="900" b="1" i="1" baseline="30000" dirty="0">
                <a:latin typeface="Verdana" pitchFamily="34" charset="0"/>
              </a:rPr>
              <a:t>rd</a:t>
            </a:r>
            <a:r>
              <a:rPr lang="en-US" sz="900" b="1" i="1" dirty="0">
                <a:latin typeface="Verdana" pitchFamily="34" charset="0"/>
              </a:rPr>
              <a:t> party TPA service arrangement</a:t>
            </a:r>
            <a:endParaRPr lang="en-US" sz="900" b="1" i="1" dirty="0">
              <a:solidFill>
                <a:srgbClr val="FF4848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735BD08-8BAB-49E3-9DEC-325058779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6379"/>
            <a:ext cx="9953625" cy="476805"/>
          </a:xfrm>
        </p:spPr>
        <p:txBody>
          <a:bodyPr/>
          <a:lstStyle/>
          <a:p>
            <a:r>
              <a:rPr lang="en-US" dirty="0"/>
              <a:t>Senior Supplemental Insuran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BF6253-436F-40F6-B930-CA57E3E8D3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oduct descriptions - 201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5AEFF3-C519-40EC-921C-035AEB41E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2062432"/>
            <a:ext cx="11272838" cy="4174867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E56DD4-02B6-4141-AE4B-9B01647D31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45" y="1742848"/>
            <a:ext cx="4952066" cy="175822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D73F81A-3647-4DB2-BD30-80801712EF61}"/>
              </a:ext>
            </a:extLst>
          </p:cNvPr>
          <p:cNvSpPr txBox="1"/>
          <p:nvPr/>
        </p:nvSpPr>
        <p:spPr>
          <a:xfrm>
            <a:off x="3169920" y="1849121"/>
            <a:ext cx="1950720" cy="31495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cs typeface="Open Sans Light"/>
              </a:rPr>
              <a:t>800,000+ member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3F30DB-D7BA-40D5-9BA2-09D845663A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7777" y="1645921"/>
            <a:ext cx="5102543" cy="85901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E063B49-01DC-4F4F-8AA8-C91A20CD1D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7777" y="2672861"/>
            <a:ext cx="4421665" cy="79589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5EB1534-8DF3-4D52-9691-457B55ECE134}"/>
              </a:ext>
            </a:extLst>
          </p:cNvPr>
          <p:cNvSpPr/>
          <p:nvPr/>
        </p:nvSpPr>
        <p:spPr>
          <a:xfrm>
            <a:off x="8290560" y="3070811"/>
            <a:ext cx="914400" cy="3979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2F3E102-C812-48BE-8A02-5106F22D43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7643" y="3515970"/>
            <a:ext cx="4361931" cy="121008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4CB1660-77AB-4157-A70F-B421FF289C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7643" y="4858134"/>
            <a:ext cx="2507696" cy="4665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18BE1CF-ABA6-44DB-99EB-D145164BCA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7643" y="5352956"/>
            <a:ext cx="3680757" cy="1014484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68F1CED-0E2A-4D01-B392-4B6E5C88BD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199" y="3670587"/>
            <a:ext cx="3295227" cy="1753911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14639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5FF40E-3B70-44C8-9E54-A346350651C7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8047</TotalTime>
  <Words>524</Words>
  <Application>Microsoft Office PowerPoint</Application>
  <PresentationFormat>Widescreen</PresentationFormat>
  <Paragraphs>7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Domaine Display</vt:lpstr>
      <vt:lpstr>Lucida Grande</vt:lpstr>
      <vt:lpstr>Open Sans</vt:lpstr>
      <vt:lpstr>Open Sans Bold</vt:lpstr>
      <vt:lpstr>Open Sans Light</vt:lpstr>
      <vt:lpstr>Verdana</vt:lpstr>
      <vt:lpstr>Wingdings</vt:lpstr>
      <vt:lpstr>OfficeoftheCTO_theme_100218</vt:lpstr>
      <vt:lpstr>think-cell Slide</vt:lpstr>
      <vt:lpstr>SSI  Senior Supplemental Insurance   Business Canvas</vt:lpstr>
      <vt:lpstr>Senior Supplemental Insurance Business Canvas</vt:lpstr>
      <vt:lpstr>Senior Supplemental Insurance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Cram, Peter H</cp:lastModifiedBy>
  <cp:revision>758</cp:revision>
  <cp:lastPrinted>2017-04-13T12:11:49Z</cp:lastPrinted>
  <dcterms:created xsi:type="dcterms:W3CDTF">2017-11-30T21:23:10Z</dcterms:created>
  <dcterms:modified xsi:type="dcterms:W3CDTF">2019-10-02T14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97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